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  <p:sldMasterId id="2147483688" r:id="rId6"/>
    <p:sldMasterId id="2147483745" r:id="rId7"/>
    <p:sldMasterId id="2147483648" r:id="rId8"/>
  </p:sldMasterIdLst>
  <p:notesMasterIdLst>
    <p:notesMasterId r:id="rId12"/>
  </p:notesMasterIdLst>
  <p:sldIdLst>
    <p:sldId id="2147481353" r:id="rId9"/>
    <p:sldId id="2147481354" r:id="rId10"/>
    <p:sldId id="2147481340" r:id="rId11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F72"/>
    <a:srgbClr val="E38425"/>
    <a:srgbClr val="FF7800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6" d="100"/>
          <a:sy n="96" d="100"/>
        </p:scale>
        <p:origin x="1152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0BDB7-7CDC-4BAC-87F9-4BEF97854AFB}" type="datetimeFigureOut">
              <a:rPr kumimoji="1" lang="ja-JP" altLang="en-US" smtClean="0"/>
              <a:t>2025/9/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CF7A6-79FD-499C-B58F-EA162622B51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254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9702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03134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151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221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7321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204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655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291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768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409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1277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E258A-0B44-43BE-A3B3-ECE0D5D55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1A548-5D5A-420A-BF48-ADAACADF16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2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2397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94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5575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1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</a:t>
            </a:r>
            <a:r>
              <a:rPr lang="en-GB" err="1"/>
              <a:t>Sectra</a:t>
            </a:r>
            <a:r>
              <a:rPr lang="en-GB"/>
              <a:t>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004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030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49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673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2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27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2243C5-2205-BC99-FE6A-221E37309F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9BCEA705-879E-CA20-968A-F36EE09113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96B9352-D01C-541E-5C5A-6887AE6B8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E3D2EDB-A28A-AD76-6129-7EDDDFC1A4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33BFDE8-364F-BCEA-BFDF-8B71F1F7A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5645C57B-2C9A-4610-B68C-2DFF1965934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10313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01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131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4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18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465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50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07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56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90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21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3349908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9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000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9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1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13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111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0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44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</p:spTree>
    <p:extLst>
      <p:ext uri="{BB962C8B-B14F-4D97-AF65-F5344CB8AC3E}">
        <p14:creationId xmlns:p14="http://schemas.microsoft.com/office/powerpoint/2010/main" val="3329757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996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096B10-74C7-582A-7A30-FCCC02D5A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69900"/>
            <a:ext cx="11430000" cy="4191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9B997706-24F4-EEDE-50D4-B90B56BA8F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952501"/>
            <a:ext cx="11430000" cy="762000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462867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11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288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78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39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76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1765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9756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60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25.xml"/><Relationship Id="rId41" Type="http://schemas.openxmlformats.org/officeDocument/2006/relationships/slideLayout" Target="../slideLayouts/slideLayout46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874208" y="-24325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5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794" r:id="rId4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7DDB142-D2CF-40B4-A01C-1017D011C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95" imgH="396" progId="TCLayout.ActiveDocument.1">
                  <p:embed/>
                </p:oleObj>
              </mc:Choice>
              <mc:Fallback>
                <p:oleObj name="think-cell スライド" r:id="rId4" imgW="395" imgH="39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7DDB142-D2CF-40B4-A01C-1017D011C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A7CD7099-4CF2-4A72-8769-1A42098B3C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4800" b="0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33149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914309" rtl="0" eaLnBrk="1" latinLnBrk="0" hangingPunct="1">
        <a:lnSpc>
          <a:spcPct val="90000"/>
        </a:lnSpc>
        <a:spcBef>
          <a:spcPct val="0"/>
        </a:spcBef>
        <a:buNone/>
        <a:defRPr kumimoji="1" sz="4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</p:titleStyle>
    <p:bodyStyle>
      <a:lvl1pPr marL="228577" indent="-228577" algn="ctr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85731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3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1142886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9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600040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2057194" indent="-228577" algn="ctr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kumimoji="1"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392DB9-1922-8C08-8166-1BBC6E977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5" imgH="416" progId="TCLayout.ActiveDocument.1">
                  <p:embed/>
                </p:oleObj>
              </mc:Choice>
              <mc:Fallback>
                <p:oleObj name="think-cell スライド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392DB9-1922-8C08-8166-1BBC6E977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0" lvl="0" indent="0">
              <a:spcAft>
                <a:spcPts val="0"/>
              </a:spcAft>
              <a:buNone/>
            </a:pPr>
            <a:r>
              <a:rPr lang="en-US"/>
              <a:t>Place message here</a:t>
            </a:r>
          </a:p>
        </p:txBody>
      </p:sp>
    </p:spTree>
    <p:extLst>
      <p:ext uri="{BB962C8B-B14F-4D97-AF65-F5344CB8AC3E}">
        <p14:creationId xmlns:p14="http://schemas.microsoft.com/office/powerpoint/2010/main" val="290874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lang="en-US" sz="3000" b="1" kern="1200" dirty="0">
          <a:solidFill>
            <a:srgbClr val="000000"/>
          </a:solidFill>
          <a:latin typeface="Meiryo UI"/>
          <a:ea typeface="Meiryo UI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b="0" kern="1200" dirty="0">
          <a:solidFill>
            <a:srgbClr val="000000"/>
          </a:solidFill>
          <a:latin typeface="Meiryo UI"/>
          <a:ea typeface="Meiryo UI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1000" b="1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lang="en-US" sz="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90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788" r:id="rId43"/>
    <p:sldLayoutId id="2147483789" r:id="rId44"/>
    <p:sldLayoutId id="2147483790" r:id="rId45"/>
    <p:sldLayoutId id="2147483791" r:id="rId46"/>
    <p:sldLayoutId id="2147483792" r:id="rId47"/>
    <p:sldLayoutId id="2147483793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1"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kumimoji="1"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bee-together.jp/course/view.php?id=81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bee-together.jp/course/view.php?id=81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AF435FA3-A778-0432-1962-37557DC667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EE3D1273-210D-5029-D663-0F8E9CDC3EE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5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ja-JP" altLang="en-US" sz="7200" b="1" dirty="0"/>
              <a:t>教員向け指導案</a:t>
            </a:r>
            <a:br>
              <a:rPr lang="en-US" altLang="ja-JP" sz="7200" b="1" dirty="0"/>
            </a:br>
            <a:r>
              <a:rPr lang="ja-JP" altLang="en-US" sz="7200" b="1" dirty="0"/>
              <a:t>キャリア教育 </a:t>
            </a:r>
            <a:r>
              <a:rPr lang="en-US" altLang="ja-JP" sz="11500" b="1" dirty="0"/>
              <a:t>-</a:t>
            </a:r>
            <a:r>
              <a:rPr lang="ja-JP" altLang="en-US" sz="11500" b="1" dirty="0"/>
              <a:t>英語</a:t>
            </a:r>
            <a:r>
              <a:rPr lang="en-US" altLang="ja-JP" sz="11500" b="1" dirty="0"/>
              <a:t>-</a:t>
            </a:r>
            <a:endParaRPr kumimoji="1" lang="ja-JP" altLang="en-US" sz="11500" b="1" dirty="0"/>
          </a:p>
        </p:txBody>
      </p:sp>
    </p:spTree>
    <p:extLst>
      <p:ext uri="{BB962C8B-B14F-4D97-AF65-F5344CB8AC3E}">
        <p14:creationId xmlns:p14="http://schemas.microsoft.com/office/powerpoint/2010/main" val="2808352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F5C21F-9796-3CC6-4612-0CB38C530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EDB559F3-7C44-2ADC-DBB2-5B3D800163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818" y="2164727"/>
            <a:ext cx="9127998" cy="4716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DF8305FA-E427-C7D6-7E2D-654C7FE0B112}"/>
              </a:ext>
            </a:extLst>
          </p:cNvPr>
          <p:cNvSpPr/>
          <p:nvPr/>
        </p:nvSpPr>
        <p:spPr>
          <a:xfrm rot="18972589">
            <a:off x="2825882" y="885458"/>
            <a:ext cx="8458138" cy="4518699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kumimoji="1" lang="ja-JP" altLang="en-US" dirty="0" err="1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FE93743-A001-CEC1-6AE6-91FAADA78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>
                <a:solidFill>
                  <a:srgbClr val="192F7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英語とわたしのキャリア（</a:t>
            </a:r>
            <a:r>
              <a:rPr lang="en-US" altLang="ja-JP" dirty="0">
                <a:solidFill>
                  <a:srgbClr val="192F7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#01 </a:t>
            </a:r>
            <a:r>
              <a:rPr lang="ja-JP" altLang="en-US" dirty="0">
                <a:solidFill>
                  <a:srgbClr val="192F7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コンサルタント編）</a:t>
            </a:r>
            <a:endParaRPr kumimoji="1" lang="ja-JP" altLang="en-US" dirty="0">
              <a:solidFill>
                <a:srgbClr val="192F72"/>
              </a:solidFill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7CEF612D-B54C-906C-E762-302F1CB9D729}"/>
              </a:ext>
            </a:extLst>
          </p:cNvPr>
          <p:cNvSpPr txBox="1"/>
          <p:nvPr/>
        </p:nvSpPr>
        <p:spPr>
          <a:xfrm>
            <a:off x="719192" y="1181100"/>
            <a:ext cx="989401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buNone/>
            </a:pPr>
            <a:r>
              <a:rPr lang="en-US" altLang="ja-JP" b="1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【</a:t>
            </a:r>
            <a:r>
              <a:rPr lang="ja-JP" altLang="en-US" b="1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コース概要</a:t>
            </a:r>
            <a:r>
              <a:rPr lang="en-US" altLang="ja-JP" b="1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】</a:t>
            </a:r>
            <a:b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「なんで英語を勉強するの？」を、社会人への</a:t>
            </a:r>
            <a:r>
              <a:rPr lang="en-US" altLang="ja-JP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5</a:t>
            </a: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分間インタビュー動画で知ることができます。</a:t>
            </a:r>
            <a:b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endParaRPr lang="ja-JP" altLang="en-US" b="0" i="0" dirty="0">
              <a:solidFill>
                <a:srgbClr val="545251"/>
              </a:solidFill>
              <a:effectLst/>
              <a:latin typeface="Arial" panose="020B0604020202020204" pitchFamily="34" charset="0"/>
            </a:endParaRPr>
          </a:p>
          <a:p>
            <a:pPr algn="l" rtl="0">
              <a:buNone/>
            </a:pP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今回は、総合コンサルティング企業で働く人にインタビューしています。</a:t>
            </a:r>
          </a:p>
          <a:p>
            <a:pPr algn="l" rtl="0">
              <a:buNone/>
            </a:pP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今の仕事と、これまでの人生との英語との関わり。そしてこれからを生きること。</a:t>
            </a:r>
            <a:b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座右の銘　</a:t>
            </a:r>
            <a:r>
              <a:rPr lang="en-US" altLang="ja-JP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" </a:t>
            </a:r>
            <a:r>
              <a:rPr lang="en-US" altLang="ja-JP" b="1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When two paths open before you, take the </a:t>
            </a:r>
            <a:r>
              <a:rPr lang="en-US" altLang="ja-JP" b="1" i="0" dirty="0" err="1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hardar</a:t>
            </a:r>
            <a:r>
              <a:rPr lang="en-US" altLang="ja-JP" b="1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 way.</a:t>
            </a: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en-US" altLang="ja-JP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" </a:t>
            </a: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とは、</a:t>
            </a:r>
            <a:endParaRPr lang="en-US" altLang="ja-JP" b="0" i="0" dirty="0">
              <a:solidFill>
                <a:srgbClr val="545251"/>
              </a:solidFill>
              <a:effectLst/>
              <a:latin typeface="Arial" panose="020B0604020202020204" pitchFamily="34" charset="0"/>
            </a:endParaRPr>
          </a:p>
          <a:p>
            <a:pPr algn="l" rtl="0">
              <a:buNone/>
            </a:pP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どんな言葉なのか。</a:t>
            </a:r>
            <a:b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</a:br>
            <a:endParaRPr lang="en-US" altLang="ja-JP" b="0" i="0" dirty="0">
              <a:solidFill>
                <a:srgbClr val="545251"/>
              </a:solidFill>
              <a:effectLst/>
              <a:latin typeface="Arial" panose="020B0604020202020204" pitchFamily="34" charset="0"/>
            </a:endParaRPr>
          </a:p>
          <a:p>
            <a:pPr algn="l" rtl="0">
              <a:buNone/>
            </a:pPr>
            <a:r>
              <a:rPr lang="ja-JP" altLang="en-US" b="0" i="0" dirty="0">
                <a:solidFill>
                  <a:srgbClr val="545251"/>
                </a:solidFill>
                <a:effectLst/>
                <a:latin typeface="Arial" panose="020B0604020202020204" pitchFamily="34" charset="0"/>
              </a:rPr>
              <a:t>中学校や高校の英語の授業や、キャリア教育の題材に使ってみてください。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250B9EC0-E365-F2AF-92F5-7E1652DCBF84}"/>
              </a:ext>
            </a:extLst>
          </p:cNvPr>
          <p:cNvSpPr txBox="1"/>
          <p:nvPr/>
        </p:nvSpPr>
        <p:spPr>
          <a:xfrm>
            <a:off x="940087" y="4230231"/>
            <a:ext cx="4510354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アジェンダ</a:t>
            </a:r>
          </a:p>
          <a:p>
            <a:pPr algn="l" rtl="0"/>
            <a: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１．現在の仕事</a:t>
            </a:r>
            <a:b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２．最近の個人的ニュース</a:t>
            </a:r>
            <a:b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３．仕事の中で英語を使う場面</a:t>
            </a:r>
            <a:b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４．学生時代の生活</a:t>
            </a:r>
            <a:b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５．中学生・高校生に向けたメッセージ</a:t>
            </a:r>
            <a:b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</a:br>
            <a:r>
              <a:rPr lang="ja-JP" altLang="en-US" sz="2000" b="1" i="0" dirty="0">
                <a:solidFill>
                  <a:srgbClr val="192F72"/>
                </a:solidFill>
                <a:effectLst/>
                <a:latin typeface="Arial" panose="020B0604020202020204" pitchFamily="34" charset="0"/>
              </a:rPr>
              <a:t>６．座右の銘</a:t>
            </a:r>
          </a:p>
        </p:txBody>
      </p:sp>
    </p:spTree>
    <p:extLst>
      <p:ext uri="{BB962C8B-B14F-4D97-AF65-F5344CB8AC3E}">
        <p14:creationId xmlns:p14="http://schemas.microsoft.com/office/powerpoint/2010/main" val="42374829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9EA80-1492-5C59-AFEB-CEC0A35F37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B860425-6C4C-EE08-9602-176A15924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9652" y="1779104"/>
            <a:ext cx="8855765" cy="254441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US" altLang="ja-JP" sz="4000" dirty="0">
                <a:solidFill>
                  <a:srgbClr val="192F72"/>
                </a:solidFill>
              </a:rPr>
            </a:br>
            <a:r>
              <a:rPr lang="ja-JP" altLang="en-US" sz="4000" dirty="0">
                <a:solidFill>
                  <a:srgbClr val="192F72"/>
                </a:solidFill>
                <a:hlinkClick r:id="rId2"/>
              </a:rPr>
              <a:t>指導案詳細はこちらをクリック！</a:t>
            </a:r>
            <a:br>
              <a:rPr kumimoji="1" lang="en-US" altLang="ja-JP" sz="4000" dirty="0">
                <a:solidFill>
                  <a:srgbClr val="192F72"/>
                </a:solidFill>
              </a:rPr>
            </a:br>
            <a:r>
              <a:rPr kumimoji="1" lang="en-US" altLang="ja-JP" sz="4000" dirty="0">
                <a:solidFill>
                  <a:srgbClr val="192F72"/>
                </a:solidFill>
              </a:rPr>
              <a:t>※</a:t>
            </a:r>
            <a:r>
              <a:rPr kumimoji="1" lang="ja-JP" altLang="en-US" sz="4000" dirty="0">
                <a:solidFill>
                  <a:srgbClr val="192F72"/>
                </a:solidFill>
              </a:rPr>
              <a:t>掲載ページ下の説明欄にもリンクあり</a:t>
            </a:r>
          </a:p>
        </p:txBody>
      </p:sp>
    </p:spTree>
    <p:extLst>
      <p:ext uri="{BB962C8B-B14F-4D97-AF65-F5344CB8AC3E}">
        <p14:creationId xmlns:p14="http://schemas.microsoft.com/office/powerpoint/2010/main" val="923201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7gg1d5MMII9a4lQzYO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F923E741-26DF-4855-9086-A2FB5A077DF7}" vid="{D3786805-4C07-42CC-9241-00C3AB350D39}"/>
    </a:ext>
  </a:extLst>
</a:theme>
</file>

<file path=ppt/theme/theme2.xml><?xml version="1.0" encoding="utf-8"?>
<a:theme xmlns:a="http://schemas.openxmlformats.org/drawingml/2006/main" name="4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2">
      <a:majorFont>
        <a:latin typeface="Century Gothic"/>
        <a:ea typeface="HGP創英角ｺﾞｼｯｸUB"/>
        <a:cs typeface=""/>
      </a:majorFont>
      <a:minorFont>
        <a:latin typeface="Century Gothic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48011" tIns="0" rIns="48011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ts val="100"/>
          </a:spcBef>
          <a:spcAft>
            <a:spcPts val="200"/>
          </a:spcAft>
          <a:buClrTx/>
          <a:buSzTx/>
          <a:buFontTx/>
          <a:buNone/>
          <a:tabLst/>
          <a:defRPr kumimoji="1" sz="14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Meiryo UI" pitchFamily="50" charset="-128"/>
            <a:ea typeface="Meiryo UI" pitchFamily="50" charset="-128"/>
            <a:sym typeface="ヒラギノ角ゴ Pro W3" charset="0"/>
          </a:defRPr>
        </a:defPPr>
      </a:lstStyle>
    </a:spDef>
    <a:lnDef>
      <a:spPr>
        <a:ln w="9525">
          <a:solidFill>
            <a:schemeClr val="bg1">
              <a:lumMod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sz="1800" dirty="0" smtClean="0">
            <a:latin typeface="+mn-ea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Accenture 2020">
  <a:themeElements>
    <a:clrScheme name="ユーザー定義 1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Meiryo 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tIns="91440" bIns="91440" rtlCol="0" anchor="ctr"/>
      <a:lstStyle>
        <a:defPPr algn="ctr">
          <a:defRPr kumimoji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>
        <a:noAutofit/>
      </a:bodyPr>
      <a:lstStyle>
        <a:defPPr algn="ctr" defTabSz="228600">
          <a:spcAft>
            <a:spcPts val="1200"/>
          </a:spcAft>
          <a:defRPr kumimoji="1" sz="1600"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0AAAE6A5-A320-45BD-B396-08B8A6FB0380}" vid="{34FCC4C4-B9AB-4F6A-9DFC-C46F8F738C98}"/>
    </a:ext>
  </a:extLst>
</a:theme>
</file>

<file path=ppt/theme/theme4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99F1122-9C85-474C-80D7-BE37AB426767}">
  <we:reference id="12cf32e2-483a-4204-b71b-bf2af83debf2" version="1.2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e4028e4-8fc5-4b13-8dd8-d45891091dfb" xsi:nil="true"/>
    <lcf76f155ced4ddcb4097134ff3c332f xmlns="8bfc3d79-29c4-473a-9698-926f22136cb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D7DDA8DF56D04FA713252812CA3FCB" ma:contentTypeVersion="18" ma:contentTypeDescription="Create a new document." ma:contentTypeScope="" ma:versionID="cfb07f37d28ab232d7b8e55cbf44ed7d">
  <xsd:schema xmlns:xsd="http://www.w3.org/2001/XMLSchema" xmlns:xs="http://www.w3.org/2001/XMLSchema" xmlns:p="http://schemas.microsoft.com/office/2006/metadata/properties" xmlns:ns2="8bfc3d79-29c4-473a-9698-926f22136cb6" xmlns:ns3="be4028e4-8fc5-4b13-8dd8-d45891091dfb" targetNamespace="http://schemas.microsoft.com/office/2006/metadata/properties" ma:root="true" ma:fieldsID="d57f7eb398d784fd859f3ce9ab686010" ns2:_="" ns3:_="">
    <xsd:import namespace="8bfc3d79-29c4-473a-9698-926f22136cb6"/>
    <xsd:import namespace="be4028e4-8fc5-4b13-8dd8-d45891091d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fc3d79-29c4-473a-9698-926f22136c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4028e4-8fc5-4b13-8dd8-d45891091df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557aa36-1df3-4b41-a8e9-d98e519eec03}" ma:internalName="TaxCatchAll" ma:showField="CatchAllData" ma:web="be4028e4-8fc5-4b13-8dd8-d45891091d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E42D44-8F53-4BE1-83D7-D861A317DCFA}">
  <ds:schemaRefs>
    <ds:schemaRef ds:uri="http://purl.org/dc/elements/1.1/"/>
    <ds:schemaRef ds:uri="http://schemas.microsoft.com/office/2006/documentManagement/types"/>
    <ds:schemaRef ds:uri="8bfc3d79-29c4-473a-9698-926f22136cb6"/>
    <ds:schemaRef ds:uri="http://schemas.microsoft.com/office/2006/metadata/properties"/>
    <ds:schemaRef ds:uri="http://purl.org/dc/terms/"/>
    <ds:schemaRef ds:uri="be4028e4-8fc5-4b13-8dd8-d45891091dfb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C1618D8-1B14-47F2-86A2-46CA4BD231AC}">
  <ds:schemaRefs>
    <ds:schemaRef ds:uri="8bfc3d79-29c4-473a-9698-926f22136cb6"/>
    <ds:schemaRef ds:uri="be4028e4-8fc5-4b13-8dd8-d45891091df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B25256C-92B0-428C-9925-EF35CA18D50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2807</TotalTime>
  <Words>198</Words>
  <Application>Microsoft Office PowerPoint</Application>
  <PresentationFormat>ワイド画面</PresentationFormat>
  <Paragraphs>11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4" baseType="lpstr">
      <vt:lpstr>Meiryo UI</vt:lpstr>
      <vt:lpstr>游ゴシック</vt:lpstr>
      <vt:lpstr>Arial</vt:lpstr>
      <vt:lpstr>Graphik</vt:lpstr>
      <vt:lpstr>Palatino Linotype</vt:lpstr>
      <vt:lpstr>2_Accenture 2020</vt:lpstr>
      <vt:lpstr>4_Office テーマ</vt:lpstr>
      <vt:lpstr>4_Accenture 2020</vt:lpstr>
      <vt:lpstr>Accenture 2020</vt:lpstr>
      <vt:lpstr>Office Theme</vt:lpstr>
      <vt:lpstr>think-cell スライド</vt:lpstr>
      <vt:lpstr>PowerPoint プレゼンテーション</vt:lpstr>
      <vt:lpstr>英語とわたしのキャリア（#01 コンサルタント編）</vt:lpstr>
      <vt:lpstr> 指導案詳細はこちらをクリック！ ※掲載ページ下の説明欄にもリンクあ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E アジェンダとその他討議事項</dc:title>
  <dc:creator>Kamatani, Karin</dc:creator>
  <cp:lastModifiedBy>Nagano, Sakura</cp:lastModifiedBy>
  <cp:revision>26</cp:revision>
  <dcterms:created xsi:type="dcterms:W3CDTF">2024-08-07T03:55:19Z</dcterms:created>
  <dcterms:modified xsi:type="dcterms:W3CDTF">2025-09-01T08:1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D7DDA8DF56D04FA713252812CA3FCB</vt:lpwstr>
  </property>
  <property fmtid="{D5CDD505-2E9C-101B-9397-08002B2CF9AE}" pid="3" name="MediaServiceImageTags">
    <vt:lpwstr/>
  </property>
</Properties>
</file>